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4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F75B55-E770-4207-BA55-00698AD60B9B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69B7B9-C08C-4DAF-9661-8CC2B47B704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79173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6102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780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01251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62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42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97869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935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068559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/>
              <a:t>{title}</a:t>
            </a:r>
            <a:endParaRPr lang="en-US" dirty="0"/>
          </a:p>
        </p:txBody>
      </p:sp>
      <p:sp>
        <p:nvSpPr>
          <p:cNvPr id="6" name="Rechteck 7">
            <a:extLst>
              <a:ext uri="{FF2B5EF4-FFF2-40B4-BE49-F238E27FC236}">
                <a16:creationId xmlns:a16="http://schemas.microsoft.com/office/drawing/2014/main" id="{ED959097-3DE2-C625-4271-79F4DE988695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2387077" cy="206433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,max_token=30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4" name="Rechteck 8">
            <a:extLst>
              <a:ext uri="{FF2B5EF4-FFF2-40B4-BE49-F238E27FC236}">
                <a16:creationId xmlns:a16="http://schemas.microsoft.com/office/drawing/2014/main" id="{0DDC3037-3351-45B9-C6F8-130AD81078FE}"/>
              </a:ext>
            </a:extLst>
          </p:cNvPr>
          <p:cNvSpPr>
            <a:spLocks/>
          </p:cNvSpPr>
          <p:nvPr/>
        </p:nvSpPr>
        <p:spPr>
          <a:xfrm>
            <a:off x="407988" y="3993566"/>
            <a:ext cx="2387077" cy="206433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4000" rtlCol="0" anchor="t"/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  <a:sym typeface="Futura"/>
              </a:rPr>
              <a:t>{bullet_2}</a:t>
            </a:r>
          </a:p>
          <a:p>
            <a:pPr lvl="0"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2_description,max_token=30}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A0FC786-0B27-048B-4A89-7648AD23D740}"/>
              </a:ext>
            </a:extLst>
          </p:cNvPr>
          <p:cNvSpPr txBox="1">
            <a:spLocks/>
          </p:cNvSpPr>
          <p:nvPr/>
        </p:nvSpPr>
        <p:spPr>
          <a:xfrm>
            <a:off x="3146213" y="1557338"/>
            <a:ext cx="4156835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_1,max_token=60}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10398292-D6A7-C574-430B-539995C3511B}"/>
              </a:ext>
            </a:extLst>
          </p:cNvPr>
          <p:cNvSpPr txBox="1">
            <a:spLocks/>
          </p:cNvSpPr>
          <p:nvPr/>
        </p:nvSpPr>
        <p:spPr>
          <a:xfrm>
            <a:off x="7663690" y="1557338"/>
            <a:ext cx="4156835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1_content_2,max_token=60}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117ED2D4-6E79-DA15-DDAB-4FCE5D0C8AAD}"/>
              </a:ext>
            </a:extLst>
          </p:cNvPr>
          <p:cNvSpPr txBox="1">
            <a:spLocks/>
          </p:cNvSpPr>
          <p:nvPr/>
        </p:nvSpPr>
        <p:spPr>
          <a:xfrm>
            <a:off x="3146213" y="3993566"/>
            <a:ext cx="4156835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2_content_1,max_token=60}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0B18F038-CC5D-9483-DB80-0041DE07C524}"/>
              </a:ext>
            </a:extLst>
          </p:cNvPr>
          <p:cNvSpPr txBox="1">
            <a:spLocks/>
          </p:cNvSpPr>
          <p:nvPr/>
        </p:nvSpPr>
        <p:spPr>
          <a:xfrm>
            <a:off x="7663690" y="3993566"/>
            <a:ext cx="4156835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2_content_2,max_token=60}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D1095A85-4CF1-2D98-3FD1-020BF0EBFD0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75075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trix, priority, priorities, prioritization</a:t>
            </a:r>
          </a:p>
        </p:txBody>
      </p:sp>
    </p:spTree>
    <p:extLst>
      <p:ext uri="{BB962C8B-B14F-4D97-AF65-F5344CB8AC3E}">
        <p14:creationId xmlns:p14="http://schemas.microsoft.com/office/powerpoint/2010/main" val="131375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08</Words>
  <Application>Microsoft Office PowerPoint</Application>
  <PresentationFormat>宽屏</PresentationFormat>
  <Paragraphs>1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2:10:43Z</dcterms:created>
  <dcterms:modified xsi:type="dcterms:W3CDTF">2025-09-09T02:11:53Z</dcterms:modified>
</cp:coreProperties>
</file>